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2"/>
  </p:notesMasterIdLst>
  <p:sldIdLst>
    <p:sldId id="284" r:id="rId2"/>
    <p:sldId id="298" r:id="rId3"/>
    <p:sldId id="297" r:id="rId4"/>
    <p:sldId id="314" r:id="rId5"/>
    <p:sldId id="296" r:id="rId6"/>
    <p:sldId id="299" r:id="rId7"/>
    <p:sldId id="310" r:id="rId8"/>
    <p:sldId id="300" r:id="rId9"/>
    <p:sldId id="312" r:id="rId10"/>
    <p:sldId id="31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Strebl" initials="S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B4A983"/>
    <a:srgbClr val="8E8566"/>
    <a:srgbClr val="FAFAFA"/>
    <a:srgbClr val="F7F7F7"/>
    <a:srgbClr val="F9F9F9"/>
    <a:srgbClr val="F2F2F2"/>
    <a:srgbClr val="EEEEEE"/>
    <a:srgbClr val="EAEAEA"/>
    <a:srgbClr val="FFF27F"/>
    <a:srgbClr val="FFFC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tyl Světlá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1403"/>
    <p:restoredTop sz="99068" autoAdjust="0"/>
  </p:normalViewPr>
  <p:slideViewPr>
    <p:cSldViewPr snapToGrid="0" snapToObjects="1">
      <p:cViewPr>
        <p:scale>
          <a:sx n="77" d="100"/>
          <a:sy n="77" d="100"/>
        </p:scale>
        <p:origin x="-2808" y="-9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A113-1192-8942-9E42-1C9E98BEFBEF}" type="datetimeFigureOut">
              <a:rPr lang="cs-CZ" smtClean="0"/>
              <a:pPr/>
              <a:t>1.8.20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C9B38-2396-4F45-B6EA-4A5156482BA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8226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Už jste unavení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299032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3556522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aux pas:</a:t>
            </a:r>
            <a:r>
              <a:rPr lang="cs-CZ" baseline="0" dirty="0" smtClean="0"/>
              <a:t> </a:t>
            </a:r>
          </a:p>
          <a:p>
            <a:pPr marL="228600" indent="-228600">
              <a:buAutoNum type="arabicParenR"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Nekontrolovatelný výpadek ve výběru daní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vyvádění zisku přes zaměstnanecký poměr </a:t>
            </a:r>
            <a:r>
              <a:rPr lang="mr-IN" baseline="0" dirty="0" smtClean="0"/>
              <a:t>–</a:t>
            </a:r>
            <a:r>
              <a:rPr lang="cs-CZ" baseline="0" dirty="0" smtClean="0"/>
              <a:t> daň je menší než 19%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zvýšení zdanění práce (v sumě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útok na občany s příjmem mezi 50 </a:t>
            </a:r>
            <a:r>
              <a:rPr lang="mr-IN" baseline="0" dirty="0" smtClean="0"/>
              <a:t>–</a:t>
            </a:r>
            <a:r>
              <a:rPr lang="cs-CZ" baseline="0" dirty="0" smtClean="0"/>
              <a:t> 112 tis. korunami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35904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8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5" indent="0" algn="ctr">
              <a:buNone/>
              <a:defRPr sz="1600"/>
            </a:lvl9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sub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4880932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22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489589"/>
            <a:ext cx="7886700" cy="4651519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700"/>
            </a:lvl1pPr>
            <a:lvl2pPr>
              <a:lnSpc>
                <a:spcPct val="100000"/>
              </a:lnSpc>
              <a:spcAft>
                <a:spcPts val="600"/>
              </a:spcAft>
              <a:defRPr sz="1700"/>
            </a:lvl2pPr>
            <a:lvl3pPr>
              <a:lnSpc>
                <a:spcPct val="100000"/>
              </a:lnSpc>
              <a:spcAft>
                <a:spcPts val="600"/>
              </a:spcAft>
              <a:defRPr sz="1700"/>
            </a:lvl3pPr>
            <a:lvl4pPr>
              <a:lnSpc>
                <a:spcPct val="100000"/>
              </a:lnSpc>
              <a:spcAft>
                <a:spcPts val="600"/>
              </a:spcAft>
              <a:defRPr sz="1700"/>
            </a:lvl4pPr>
            <a:lvl5pPr>
              <a:lnSpc>
                <a:spcPct val="100000"/>
              </a:lnSpc>
              <a:spcAft>
                <a:spcPts val="600"/>
              </a:spcAft>
              <a:defRPr sz="17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6320496"/>
            <a:ext cx="4567817" cy="365125"/>
          </a:xfrm>
        </p:spPr>
        <p:txBody>
          <a:bodyPr lIns="0"/>
          <a:lstStyle>
            <a:lvl1pPr algn="l">
              <a:defRPr sz="1051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20496"/>
            <a:ext cx="2057400" cy="365125"/>
          </a:xfrm>
        </p:spPr>
        <p:txBody>
          <a:bodyPr lIns="0" tIns="0" rIns="0" bIns="0"/>
          <a:lstStyle>
            <a:lvl1pPr>
              <a:defRPr sz="1051"/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709740"/>
            <a:ext cx="78867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65127"/>
            <a:ext cx="7886700" cy="1325563"/>
          </a:xfrm>
        </p:spPr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505076"/>
            <a:ext cx="3887391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987428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987428"/>
            <a:ext cx="462915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8" indent="0">
              <a:buNone/>
              <a:defRPr sz="2400"/>
            </a:lvl3pPr>
            <a:lvl4pPr marL="1371508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7" indent="0">
              <a:buNone/>
              <a:defRPr sz="2000"/>
            </a:lvl8pPr>
            <a:lvl9pPr marL="3657355" indent="0">
              <a:buNone/>
              <a:defRPr sz="2000"/>
            </a:lvl9pPr>
          </a:lstStyle>
          <a:p>
            <a:r>
              <a:rPr lang="cs-CZ" dirty="0" err="1" smtClean="0"/>
              <a:t>Drag</a:t>
            </a:r>
            <a:r>
              <a:rPr lang="cs-CZ" dirty="0" smtClean="0"/>
              <a:t> </a:t>
            </a:r>
            <a:r>
              <a:rPr lang="cs-CZ" dirty="0" err="1" smtClean="0"/>
              <a:t>picture</a:t>
            </a:r>
            <a:r>
              <a:rPr lang="cs-CZ" dirty="0" smtClean="0"/>
              <a:t> to </a:t>
            </a:r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or</a:t>
            </a:r>
            <a:r>
              <a:rPr lang="cs-CZ" dirty="0" smtClean="0"/>
              <a:t> </a:t>
            </a:r>
            <a:r>
              <a:rPr lang="cs-CZ" dirty="0" err="1" smtClean="0"/>
              <a:t>click</a:t>
            </a:r>
            <a:r>
              <a:rPr lang="cs-CZ" dirty="0" smtClean="0"/>
              <a:t> </a:t>
            </a:r>
            <a:r>
              <a:rPr lang="cs-CZ" dirty="0" err="1" smtClean="0"/>
              <a:t>icon</a:t>
            </a:r>
            <a:r>
              <a:rPr lang="cs-CZ" dirty="0" smtClean="0"/>
              <a:t> to </a:t>
            </a:r>
            <a:r>
              <a:rPr lang="cs-CZ" dirty="0" err="1" smtClean="0"/>
              <a:t>add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="" xmlns:p14="http://schemas.microsoft.com/office/powerpoint/2010/main" val="284304192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210" name="think-cell Slide" r:id="rId1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2766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563" y="2741387"/>
            <a:ext cx="1262819" cy="126281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591612" y="2699432"/>
            <a:ext cx="3742441" cy="1346728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/>
          </a:bodyPr>
          <a:lstStyle/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kumimoji="0" lang="cs-CZ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3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kumimoji="0" lang="cs-CZ" sz="3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318396" y="6165041"/>
            <a:ext cx="6491063" cy="3901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 defTabSz="914338">
              <a:lnSpc>
                <a:spcPct val="110000"/>
              </a:lnSpc>
              <a:spcBef>
                <a:spcPct val="0"/>
              </a:spcBef>
              <a:defRPr/>
            </a:pP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ttps://www.pirati.cz/program/dlouhodoby/psychotropni-latky/</a:t>
            </a:r>
          </a:p>
        </p:txBody>
      </p:sp>
    </p:spTree>
    <p:extLst>
      <p:ext uri="{BB962C8B-B14F-4D97-AF65-F5344CB8AC3E}">
        <p14:creationId xmlns="" xmlns:p14="http://schemas.microsoft.com/office/powerpoint/2010/main" val="87644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506621"/>
            <a:ext cx="7886700" cy="525905"/>
          </a:xfrm>
        </p:spPr>
        <p:txBody>
          <a:bodyPr/>
          <a:lstStyle/>
          <a:p>
            <a:pPr algn="ctr"/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utoři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10</a:t>
            </a:fld>
            <a:endParaRPr lang="cs-CZ" dirty="0"/>
          </a:p>
        </p:txBody>
      </p:sp>
      <p:sp>
        <p:nvSpPr>
          <p:cNvPr id="9" name="TextBox 8"/>
          <p:cNvSpPr txBox="1"/>
          <p:nvPr/>
        </p:nvSpPr>
        <p:spPr>
          <a:xfrm>
            <a:off x="6595834" y="3368973"/>
            <a:ext cx="144110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40315" y="4756077"/>
            <a:ext cx="134171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lchymie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irate Space Brno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96478" y="4005304"/>
            <a:ext cx="222336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andidá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č. 2 v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ihomoravském</a:t>
            </a:r>
            <a:endParaRPr lang="en-US" sz="1200" i="1" dirty="0" smtClean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raji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for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ahrádkář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69998" y="3368973"/>
            <a:ext cx="131606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85118" y="4005304"/>
            <a:ext cx="185467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White hacker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ate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71758" y="4756077"/>
            <a:ext cx="170238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ogika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ická</a:t>
            </a:r>
            <a:r>
              <a:rPr lang="cs-CZ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fakulta UK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30116" y="3430758"/>
            <a:ext cx="14683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700878" y="4030018"/>
            <a:ext cx="172322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ktorand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nau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hao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brodinec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821974" y="4756077"/>
            <a:ext cx="149399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iotechnologie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iv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CHT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pic>
        <p:nvPicPr>
          <p:cNvPr id="15" name="Picture 14" descr="logysk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308" y="1256290"/>
            <a:ext cx="1927654" cy="124458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595308" y="2500876"/>
            <a:ext cx="19276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acov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kupi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tropní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átky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2650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53668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10911"/>
            <a:ext cx="7886700" cy="52934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o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idí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?</a:t>
            </a:r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92083" y="2177562"/>
            <a:ext cx="34257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2096454" y="211503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1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91917" y="2960751"/>
            <a:ext cx="34260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2096288" y="2922937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2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91917" y="3757906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erč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2096288" y="3718482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3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8650" y="1606192"/>
            <a:ext cx="4385816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700" b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lavní cíle reformy:</a:t>
            </a:r>
            <a:endParaRPr lang="cs-CZ" sz="17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13" name="Rectangle 12"/>
          <p:cNvSpPr/>
          <p:nvPr/>
        </p:nvSpPr>
        <p:spPr>
          <a:xfrm>
            <a:off x="2996033" y="4552870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ávisl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7" name="Oval 16"/>
          <p:cNvSpPr>
            <a:spLocks noChangeAspect="1"/>
          </p:cNvSpPr>
          <p:nvPr/>
        </p:nvSpPr>
        <p:spPr>
          <a:xfrm>
            <a:off x="2100404" y="4513446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4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08390" y="5343718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mez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stupu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ládeži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>
            <a:off x="2112761" y="530429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5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1677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/>
          <p:cNvCxnSpPr/>
          <p:nvPr/>
        </p:nvCxnSpPr>
        <p:spPr>
          <a:xfrm>
            <a:off x="628651" y="1775379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3817720" y="1639146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0" y="328056"/>
            <a:ext cx="7886700" cy="1006473"/>
          </a:xfrm>
        </p:spPr>
        <p:txBody>
          <a:bodyPr>
            <a:noAutofit/>
          </a:bodyPr>
          <a:lstStyle/>
          <a:p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dostupné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ý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oučasná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tuace</a:t>
            </a:r>
            <a:endParaRPr lang="en-US" sz="28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Content Placeholder 18"/>
          <p:cNvSpPr>
            <a:spLocks noGrp="1"/>
          </p:cNvSpPr>
          <p:nvPr>
            <p:ph sz="half" idx="1"/>
          </p:nvPr>
        </p:nvSpPr>
        <p:spPr>
          <a:xfrm>
            <a:off x="628651" y="2347783"/>
            <a:ext cx="3886200" cy="3829179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ve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mys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h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áza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prost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endParaRPr lang="en-US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ů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tup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ace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k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legální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amo-pěstování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rné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1" name="Content Placeholder 20"/>
          <p:cNvSpPr>
            <a:spLocks noGrp="1"/>
          </p:cNvSpPr>
          <p:nvPr>
            <p:ph sz="half" idx="2"/>
          </p:nvPr>
        </p:nvSpPr>
        <p:spPr>
          <a:xfrm>
            <a:off x="4629151" y="2347783"/>
            <a:ext cx="3886200" cy="3829180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ča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ČR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a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ožnos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nak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tř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tí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rojevi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znamnějš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oxick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lastnost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(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rozdíl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řeb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d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lkoho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ito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o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vně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ucen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at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právně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říd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é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-47942" y="6319282"/>
            <a:ext cx="3086100" cy="365125"/>
          </a:xfrm>
        </p:spPr>
        <p:txBody>
          <a:bodyPr/>
          <a:lstStyle/>
          <a:p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sz="105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32093" y="6331639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z="1050" smtClean="0"/>
              <a:pPr/>
              <a:t>3</a:t>
            </a:fld>
            <a:endParaRPr lang="cs-CZ" sz="1050" dirty="0"/>
          </a:p>
        </p:txBody>
      </p:sp>
    </p:spTree>
    <p:extLst>
      <p:ext uri="{BB962C8B-B14F-4D97-AF65-F5344CB8AC3E}">
        <p14:creationId xmlns="" xmlns:p14="http://schemas.microsoft.com/office/powerpoint/2010/main" val="14172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50463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dstav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628651" y="1489589"/>
            <a:ext cx="7613306" cy="4651519"/>
          </a:xfrm>
        </p:spPr>
        <p:txBody>
          <a:bodyPr/>
          <a:lstStyle/>
          <a:p>
            <a:pPr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liš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krét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iagnóz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skrimin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jsm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chopn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soudi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d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č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t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číná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otný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limit pro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echny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vobod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olb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vním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ístě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arší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18 let</a:t>
            </a:r>
          </a:p>
          <a:p>
            <a:pPr lvl="1"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rž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max. 10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ležitos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ová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av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uni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ř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oh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chtějí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/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4</a:t>
            </a:fld>
            <a:endParaRPr lang="cs-CZ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911" y="5372995"/>
            <a:ext cx="662923" cy="66292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923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692049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89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44285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460364" y="1970529"/>
            <a:ext cx="2217600" cy="3599658"/>
            <a:chOff x="3461401" y="1970529"/>
            <a:chExt cx="2217600" cy="3599658"/>
          </a:xfrm>
        </p:grpSpPr>
        <p:sp>
          <p:nvSpPr>
            <p:cNvPr id="39" name="Rectangle 38"/>
            <p:cNvSpPr/>
            <p:nvPr/>
          </p:nvSpPr>
          <p:spPr>
            <a:xfrm>
              <a:off x="3461401" y="2347368"/>
              <a:ext cx="22176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526201" y="2627608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mahatelný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ákaz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ladistvým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526201" y="3314645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níže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isk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rogový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afií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526201" y="3787894"/>
              <a:ext cx="2088000" cy="146358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lici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bud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use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naklád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as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n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ro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rzekuc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amopěsti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ekreač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uživa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páchajíc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žádnou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kutečně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gativ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innost</a:t>
              </a:r>
              <a:endParaRPr lang="cs-CZ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461401" y="1970529"/>
              <a:ext cx="2217600" cy="43062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it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8650" y="1970096"/>
            <a:ext cx="2217600" cy="2723665"/>
            <a:chOff x="628651" y="1970096"/>
            <a:chExt cx="2217600" cy="2723665"/>
          </a:xfrm>
        </p:grpSpPr>
        <p:sp>
          <p:nvSpPr>
            <p:cNvPr id="47" name="Rectangle 46"/>
            <p:cNvSpPr/>
            <p:nvPr/>
          </p:nvSpPr>
          <p:spPr>
            <a:xfrm>
              <a:off x="628651" y="2343650"/>
              <a:ext cx="2217600" cy="21961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93451" y="2710388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tenciálně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ž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3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iliardy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č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a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93451" y="3224427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ová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acov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ísta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93451" y="3787894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platky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z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nces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ýrobu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93451" y="4017722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93451" y="4509095"/>
              <a:ext cx="2088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28651" y="1970096"/>
              <a:ext cx="2217600" cy="4057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řines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6292078" y="1970096"/>
            <a:ext cx="2223273" cy="3628834"/>
            <a:chOff x="6159313" y="1944745"/>
            <a:chExt cx="2223273" cy="3628834"/>
          </a:xfrm>
        </p:grpSpPr>
        <p:sp>
          <p:nvSpPr>
            <p:cNvPr id="22" name="Rectangle 21"/>
            <p:cNvSpPr/>
            <p:nvPr/>
          </p:nvSpPr>
          <p:spPr>
            <a:xfrm>
              <a:off x="6161386" y="2350760"/>
              <a:ext cx="22212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226291" y="2636574"/>
              <a:ext cx="2091390" cy="701147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níz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upi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závad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a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ukt</a:t>
              </a:r>
              <a:endParaRPr lang="cs-CZ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59313" y="1944745"/>
              <a:ext cx="2221200" cy="43106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ozšíře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obod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ospělých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občanů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ČR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6359056" y="3566433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stupnost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třebné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ěkteré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agnóz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dikováno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bude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359056" y="4550331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fektiv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lementár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klad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chran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třebitele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ivilizovaném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větě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834169" y="1521294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613" y="1374094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6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83425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79507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" name="Straight Connector 68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317140" y="4917989"/>
            <a:ext cx="1426060" cy="140250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10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23268"/>
            <a:ext cx="7886701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ysté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volují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ů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er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sobní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ferenc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40163" y="5177511"/>
            <a:ext cx="1170686" cy="114790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758506" y="3357000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1001218" y="3901695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/>
              <a:t>Konzument</a:t>
            </a:r>
            <a:endParaRPr lang="cs-CZ" sz="1400" b="1" dirty="0"/>
          </a:p>
        </p:txBody>
      </p:sp>
      <p:sp>
        <p:nvSpPr>
          <p:cNvPr id="38" name="Freeform 9"/>
          <p:cNvSpPr>
            <a:spLocks/>
          </p:cNvSpPr>
          <p:nvPr/>
        </p:nvSpPr>
        <p:spPr bwMode="auto">
          <a:xfrm>
            <a:off x="7168014" y="3342140"/>
            <a:ext cx="808620" cy="2248973"/>
          </a:xfrm>
          <a:custGeom>
            <a:avLst/>
            <a:gdLst>
              <a:gd name="T0" fmla="*/ 364 w 512"/>
              <a:gd name="T1" fmla="*/ 212 h 1424"/>
              <a:gd name="T2" fmla="*/ 392 w 512"/>
              <a:gd name="T3" fmla="*/ 170 h 1424"/>
              <a:gd name="T4" fmla="*/ 404 w 512"/>
              <a:gd name="T5" fmla="*/ 126 h 1424"/>
              <a:gd name="T6" fmla="*/ 410 w 512"/>
              <a:gd name="T7" fmla="*/ 98 h 1424"/>
              <a:gd name="T8" fmla="*/ 366 w 512"/>
              <a:gd name="T9" fmla="*/ 22 h 1424"/>
              <a:gd name="T10" fmla="*/ 296 w 512"/>
              <a:gd name="T11" fmla="*/ 0 h 1424"/>
              <a:gd name="T12" fmla="*/ 238 w 512"/>
              <a:gd name="T13" fmla="*/ 46 h 1424"/>
              <a:gd name="T14" fmla="*/ 200 w 512"/>
              <a:gd name="T15" fmla="*/ 134 h 1424"/>
              <a:gd name="T16" fmla="*/ 196 w 512"/>
              <a:gd name="T17" fmla="*/ 176 h 1424"/>
              <a:gd name="T18" fmla="*/ 204 w 512"/>
              <a:gd name="T19" fmla="*/ 196 h 1424"/>
              <a:gd name="T20" fmla="*/ 156 w 512"/>
              <a:gd name="T21" fmla="*/ 210 h 1424"/>
              <a:gd name="T22" fmla="*/ 136 w 512"/>
              <a:gd name="T23" fmla="*/ 308 h 1424"/>
              <a:gd name="T24" fmla="*/ 120 w 512"/>
              <a:gd name="T25" fmla="*/ 478 h 1424"/>
              <a:gd name="T26" fmla="*/ 106 w 512"/>
              <a:gd name="T27" fmla="*/ 560 h 1424"/>
              <a:gd name="T28" fmla="*/ 116 w 512"/>
              <a:gd name="T29" fmla="*/ 634 h 1424"/>
              <a:gd name="T30" fmla="*/ 136 w 512"/>
              <a:gd name="T31" fmla="*/ 664 h 1424"/>
              <a:gd name="T32" fmla="*/ 162 w 512"/>
              <a:gd name="T33" fmla="*/ 672 h 1424"/>
              <a:gd name="T34" fmla="*/ 128 w 512"/>
              <a:gd name="T35" fmla="*/ 812 h 1424"/>
              <a:gd name="T36" fmla="*/ 108 w 512"/>
              <a:gd name="T37" fmla="*/ 962 h 1424"/>
              <a:gd name="T38" fmla="*/ 78 w 512"/>
              <a:gd name="T39" fmla="*/ 1108 h 1424"/>
              <a:gd name="T40" fmla="*/ 64 w 512"/>
              <a:gd name="T41" fmla="*/ 1200 h 1424"/>
              <a:gd name="T42" fmla="*/ 64 w 512"/>
              <a:gd name="T43" fmla="*/ 1286 h 1424"/>
              <a:gd name="T44" fmla="*/ 42 w 512"/>
              <a:gd name="T45" fmla="*/ 1354 h 1424"/>
              <a:gd name="T46" fmla="*/ 0 w 512"/>
              <a:gd name="T47" fmla="*/ 1420 h 1424"/>
              <a:gd name="T48" fmla="*/ 68 w 512"/>
              <a:gd name="T49" fmla="*/ 1414 h 1424"/>
              <a:gd name="T50" fmla="*/ 94 w 512"/>
              <a:gd name="T51" fmla="*/ 1368 h 1424"/>
              <a:gd name="T52" fmla="*/ 116 w 512"/>
              <a:gd name="T53" fmla="*/ 1346 h 1424"/>
              <a:gd name="T54" fmla="*/ 122 w 512"/>
              <a:gd name="T55" fmla="*/ 1376 h 1424"/>
              <a:gd name="T56" fmla="*/ 128 w 512"/>
              <a:gd name="T57" fmla="*/ 1340 h 1424"/>
              <a:gd name="T58" fmla="*/ 152 w 512"/>
              <a:gd name="T59" fmla="*/ 1316 h 1424"/>
              <a:gd name="T60" fmla="*/ 166 w 512"/>
              <a:gd name="T61" fmla="*/ 1172 h 1424"/>
              <a:gd name="T62" fmla="*/ 188 w 512"/>
              <a:gd name="T63" fmla="*/ 1114 h 1424"/>
              <a:gd name="T64" fmla="*/ 234 w 512"/>
              <a:gd name="T65" fmla="*/ 874 h 1424"/>
              <a:gd name="T66" fmla="*/ 288 w 512"/>
              <a:gd name="T67" fmla="*/ 754 h 1424"/>
              <a:gd name="T68" fmla="*/ 310 w 512"/>
              <a:gd name="T69" fmla="*/ 796 h 1424"/>
              <a:gd name="T70" fmla="*/ 308 w 512"/>
              <a:gd name="T71" fmla="*/ 1130 h 1424"/>
              <a:gd name="T72" fmla="*/ 292 w 512"/>
              <a:gd name="T73" fmla="*/ 1228 h 1424"/>
              <a:gd name="T74" fmla="*/ 304 w 512"/>
              <a:gd name="T75" fmla="*/ 1298 h 1424"/>
              <a:gd name="T76" fmla="*/ 316 w 512"/>
              <a:gd name="T77" fmla="*/ 1356 h 1424"/>
              <a:gd name="T78" fmla="*/ 342 w 512"/>
              <a:gd name="T79" fmla="*/ 1396 h 1424"/>
              <a:gd name="T80" fmla="*/ 382 w 512"/>
              <a:gd name="T81" fmla="*/ 1370 h 1424"/>
              <a:gd name="T82" fmla="*/ 376 w 512"/>
              <a:gd name="T83" fmla="*/ 1294 h 1424"/>
              <a:gd name="T84" fmla="*/ 390 w 512"/>
              <a:gd name="T85" fmla="*/ 1154 h 1424"/>
              <a:gd name="T86" fmla="*/ 404 w 512"/>
              <a:gd name="T87" fmla="*/ 994 h 1424"/>
              <a:gd name="T88" fmla="*/ 426 w 512"/>
              <a:gd name="T89" fmla="*/ 816 h 1424"/>
              <a:gd name="T90" fmla="*/ 450 w 512"/>
              <a:gd name="T91" fmla="*/ 706 h 1424"/>
              <a:gd name="T92" fmla="*/ 434 w 512"/>
              <a:gd name="T93" fmla="*/ 588 h 1424"/>
              <a:gd name="T94" fmla="*/ 404 w 512"/>
              <a:gd name="T95" fmla="*/ 502 h 1424"/>
              <a:gd name="T96" fmla="*/ 420 w 512"/>
              <a:gd name="T97" fmla="*/ 432 h 1424"/>
              <a:gd name="T98" fmla="*/ 428 w 512"/>
              <a:gd name="T99" fmla="*/ 454 h 1424"/>
              <a:gd name="T100" fmla="*/ 424 w 512"/>
              <a:gd name="T101" fmla="*/ 492 h 1424"/>
              <a:gd name="T102" fmla="*/ 436 w 512"/>
              <a:gd name="T103" fmla="*/ 508 h 1424"/>
              <a:gd name="T104" fmla="*/ 438 w 512"/>
              <a:gd name="T105" fmla="*/ 550 h 1424"/>
              <a:gd name="T106" fmla="*/ 432 w 512"/>
              <a:gd name="T107" fmla="*/ 580 h 1424"/>
              <a:gd name="T108" fmla="*/ 444 w 512"/>
              <a:gd name="T109" fmla="*/ 686 h 1424"/>
              <a:gd name="T110" fmla="*/ 490 w 512"/>
              <a:gd name="T111" fmla="*/ 610 h 1424"/>
              <a:gd name="T112" fmla="*/ 512 w 512"/>
              <a:gd name="T113" fmla="*/ 512 h 1424"/>
              <a:gd name="T114" fmla="*/ 498 w 512"/>
              <a:gd name="T115" fmla="*/ 474 h 1424"/>
              <a:gd name="T116" fmla="*/ 486 w 512"/>
              <a:gd name="T117" fmla="*/ 432 h 1424"/>
              <a:gd name="T118" fmla="*/ 480 w 512"/>
              <a:gd name="T119" fmla="*/ 318 h 1424"/>
              <a:gd name="T120" fmla="*/ 464 w 512"/>
              <a:gd name="T121" fmla="*/ 246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1424">
                <a:moveTo>
                  <a:pt x="432" y="234"/>
                </a:moveTo>
                <a:lnTo>
                  <a:pt x="432" y="234"/>
                </a:lnTo>
                <a:lnTo>
                  <a:pt x="386" y="222"/>
                </a:lnTo>
                <a:lnTo>
                  <a:pt x="374" y="218"/>
                </a:lnTo>
                <a:lnTo>
                  <a:pt x="364" y="212"/>
                </a:lnTo>
                <a:lnTo>
                  <a:pt x="364" y="212"/>
                </a:lnTo>
                <a:lnTo>
                  <a:pt x="362" y="210"/>
                </a:lnTo>
                <a:lnTo>
                  <a:pt x="360" y="208"/>
                </a:lnTo>
                <a:lnTo>
                  <a:pt x="362" y="202"/>
                </a:lnTo>
                <a:lnTo>
                  <a:pt x="368" y="194"/>
                </a:lnTo>
                <a:lnTo>
                  <a:pt x="376" y="186"/>
                </a:lnTo>
                <a:lnTo>
                  <a:pt x="392" y="170"/>
                </a:lnTo>
                <a:lnTo>
                  <a:pt x="398" y="160"/>
                </a:lnTo>
                <a:lnTo>
                  <a:pt x="400" y="152"/>
                </a:lnTo>
                <a:lnTo>
                  <a:pt x="400" y="152"/>
                </a:lnTo>
                <a:lnTo>
                  <a:pt x="400" y="140"/>
                </a:lnTo>
                <a:lnTo>
                  <a:pt x="402" y="132"/>
                </a:lnTo>
                <a:lnTo>
                  <a:pt x="404" y="126"/>
                </a:lnTo>
                <a:lnTo>
                  <a:pt x="406" y="122"/>
                </a:lnTo>
                <a:lnTo>
                  <a:pt x="412" y="116"/>
                </a:lnTo>
                <a:lnTo>
                  <a:pt x="412" y="114"/>
                </a:lnTo>
                <a:lnTo>
                  <a:pt x="414" y="108"/>
                </a:lnTo>
                <a:lnTo>
                  <a:pt x="414" y="108"/>
                </a:lnTo>
                <a:lnTo>
                  <a:pt x="410" y="98"/>
                </a:lnTo>
                <a:lnTo>
                  <a:pt x="406" y="88"/>
                </a:lnTo>
                <a:lnTo>
                  <a:pt x="392" y="66"/>
                </a:lnTo>
                <a:lnTo>
                  <a:pt x="378" y="44"/>
                </a:lnTo>
                <a:lnTo>
                  <a:pt x="370" y="28"/>
                </a:lnTo>
                <a:lnTo>
                  <a:pt x="370" y="28"/>
                </a:lnTo>
                <a:lnTo>
                  <a:pt x="366" y="22"/>
                </a:lnTo>
                <a:lnTo>
                  <a:pt x="358" y="16"/>
                </a:lnTo>
                <a:lnTo>
                  <a:pt x="348" y="10"/>
                </a:lnTo>
                <a:lnTo>
                  <a:pt x="336" y="6"/>
                </a:lnTo>
                <a:lnTo>
                  <a:pt x="312" y="0"/>
                </a:lnTo>
                <a:lnTo>
                  <a:pt x="302" y="0"/>
                </a:lnTo>
                <a:lnTo>
                  <a:pt x="296" y="0"/>
                </a:lnTo>
                <a:lnTo>
                  <a:pt x="296" y="0"/>
                </a:lnTo>
                <a:lnTo>
                  <a:pt x="284" y="6"/>
                </a:lnTo>
                <a:lnTo>
                  <a:pt x="264" y="18"/>
                </a:lnTo>
                <a:lnTo>
                  <a:pt x="254" y="28"/>
                </a:lnTo>
                <a:lnTo>
                  <a:pt x="244" y="36"/>
                </a:lnTo>
                <a:lnTo>
                  <a:pt x="238" y="46"/>
                </a:lnTo>
                <a:lnTo>
                  <a:pt x="234" y="56"/>
                </a:lnTo>
                <a:lnTo>
                  <a:pt x="234" y="56"/>
                </a:lnTo>
                <a:lnTo>
                  <a:pt x="230" y="66"/>
                </a:lnTo>
                <a:lnTo>
                  <a:pt x="226" y="78"/>
                </a:lnTo>
                <a:lnTo>
                  <a:pt x="212" y="106"/>
                </a:lnTo>
                <a:lnTo>
                  <a:pt x="200" y="134"/>
                </a:lnTo>
                <a:lnTo>
                  <a:pt x="194" y="148"/>
                </a:lnTo>
                <a:lnTo>
                  <a:pt x="192" y="158"/>
                </a:lnTo>
                <a:lnTo>
                  <a:pt x="192" y="158"/>
                </a:lnTo>
                <a:lnTo>
                  <a:pt x="190" y="166"/>
                </a:lnTo>
                <a:lnTo>
                  <a:pt x="192" y="172"/>
                </a:lnTo>
                <a:lnTo>
                  <a:pt x="196" y="176"/>
                </a:lnTo>
                <a:lnTo>
                  <a:pt x="200" y="180"/>
                </a:lnTo>
                <a:lnTo>
                  <a:pt x="202" y="182"/>
                </a:lnTo>
                <a:lnTo>
                  <a:pt x="206" y="186"/>
                </a:lnTo>
                <a:lnTo>
                  <a:pt x="206" y="190"/>
                </a:lnTo>
                <a:lnTo>
                  <a:pt x="204" y="196"/>
                </a:lnTo>
                <a:lnTo>
                  <a:pt x="204" y="196"/>
                </a:lnTo>
                <a:lnTo>
                  <a:pt x="200" y="200"/>
                </a:lnTo>
                <a:lnTo>
                  <a:pt x="194" y="204"/>
                </a:lnTo>
                <a:lnTo>
                  <a:pt x="186" y="206"/>
                </a:lnTo>
                <a:lnTo>
                  <a:pt x="186" y="206"/>
                </a:lnTo>
                <a:lnTo>
                  <a:pt x="170" y="208"/>
                </a:lnTo>
                <a:lnTo>
                  <a:pt x="156" y="210"/>
                </a:lnTo>
                <a:lnTo>
                  <a:pt x="150" y="212"/>
                </a:lnTo>
                <a:lnTo>
                  <a:pt x="146" y="216"/>
                </a:lnTo>
                <a:lnTo>
                  <a:pt x="142" y="224"/>
                </a:lnTo>
                <a:lnTo>
                  <a:pt x="142" y="234"/>
                </a:lnTo>
                <a:lnTo>
                  <a:pt x="142" y="234"/>
                </a:lnTo>
                <a:lnTo>
                  <a:pt x="136" y="308"/>
                </a:lnTo>
                <a:lnTo>
                  <a:pt x="130" y="384"/>
                </a:lnTo>
                <a:lnTo>
                  <a:pt x="130" y="384"/>
                </a:lnTo>
                <a:lnTo>
                  <a:pt x="130" y="416"/>
                </a:lnTo>
                <a:lnTo>
                  <a:pt x="128" y="442"/>
                </a:lnTo>
                <a:lnTo>
                  <a:pt x="124" y="462"/>
                </a:lnTo>
                <a:lnTo>
                  <a:pt x="120" y="478"/>
                </a:lnTo>
                <a:lnTo>
                  <a:pt x="112" y="506"/>
                </a:lnTo>
                <a:lnTo>
                  <a:pt x="108" y="518"/>
                </a:lnTo>
                <a:lnTo>
                  <a:pt x="106" y="534"/>
                </a:lnTo>
                <a:lnTo>
                  <a:pt x="106" y="534"/>
                </a:lnTo>
                <a:lnTo>
                  <a:pt x="104" y="546"/>
                </a:lnTo>
                <a:lnTo>
                  <a:pt x="106" y="560"/>
                </a:lnTo>
                <a:lnTo>
                  <a:pt x="106" y="578"/>
                </a:lnTo>
                <a:lnTo>
                  <a:pt x="106" y="598"/>
                </a:lnTo>
                <a:lnTo>
                  <a:pt x="106" y="598"/>
                </a:lnTo>
                <a:lnTo>
                  <a:pt x="108" y="610"/>
                </a:lnTo>
                <a:lnTo>
                  <a:pt x="112" y="622"/>
                </a:lnTo>
                <a:lnTo>
                  <a:pt x="116" y="634"/>
                </a:lnTo>
                <a:lnTo>
                  <a:pt x="118" y="646"/>
                </a:lnTo>
                <a:lnTo>
                  <a:pt x="118" y="646"/>
                </a:lnTo>
                <a:lnTo>
                  <a:pt x="120" y="654"/>
                </a:lnTo>
                <a:lnTo>
                  <a:pt x="124" y="660"/>
                </a:lnTo>
                <a:lnTo>
                  <a:pt x="130" y="662"/>
                </a:lnTo>
                <a:lnTo>
                  <a:pt x="136" y="664"/>
                </a:lnTo>
                <a:lnTo>
                  <a:pt x="150" y="664"/>
                </a:lnTo>
                <a:lnTo>
                  <a:pt x="154" y="664"/>
                </a:lnTo>
                <a:lnTo>
                  <a:pt x="158" y="664"/>
                </a:lnTo>
                <a:lnTo>
                  <a:pt x="158" y="664"/>
                </a:lnTo>
                <a:lnTo>
                  <a:pt x="160" y="668"/>
                </a:lnTo>
                <a:lnTo>
                  <a:pt x="162" y="672"/>
                </a:lnTo>
                <a:lnTo>
                  <a:pt x="162" y="686"/>
                </a:lnTo>
                <a:lnTo>
                  <a:pt x="158" y="704"/>
                </a:lnTo>
                <a:lnTo>
                  <a:pt x="152" y="726"/>
                </a:lnTo>
                <a:lnTo>
                  <a:pt x="152" y="726"/>
                </a:lnTo>
                <a:lnTo>
                  <a:pt x="142" y="760"/>
                </a:lnTo>
                <a:lnTo>
                  <a:pt x="128" y="812"/>
                </a:lnTo>
                <a:lnTo>
                  <a:pt x="120" y="842"/>
                </a:lnTo>
                <a:lnTo>
                  <a:pt x="114" y="876"/>
                </a:lnTo>
                <a:lnTo>
                  <a:pt x="110" y="912"/>
                </a:lnTo>
                <a:lnTo>
                  <a:pt x="110" y="948"/>
                </a:lnTo>
                <a:lnTo>
                  <a:pt x="110" y="948"/>
                </a:lnTo>
                <a:lnTo>
                  <a:pt x="108" y="962"/>
                </a:lnTo>
                <a:lnTo>
                  <a:pt x="104" y="980"/>
                </a:lnTo>
                <a:lnTo>
                  <a:pt x="94" y="1028"/>
                </a:lnTo>
                <a:lnTo>
                  <a:pt x="82" y="1076"/>
                </a:lnTo>
                <a:lnTo>
                  <a:pt x="78" y="1094"/>
                </a:lnTo>
                <a:lnTo>
                  <a:pt x="78" y="1108"/>
                </a:lnTo>
                <a:lnTo>
                  <a:pt x="78" y="1108"/>
                </a:lnTo>
                <a:lnTo>
                  <a:pt x="78" y="1132"/>
                </a:lnTo>
                <a:lnTo>
                  <a:pt x="78" y="1150"/>
                </a:lnTo>
                <a:lnTo>
                  <a:pt x="76" y="1164"/>
                </a:lnTo>
                <a:lnTo>
                  <a:pt x="72" y="1174"/>
                </a:lnTo>
                <a:lnTo>
                  <a:pt x="66" y="1192"/>
                </a:lnTo>
                <a:lnTo>
                  <a:pt x="64" y="1200"/>
                </a:lnTo>
                <a:lnTo>
                  <a:pt x="62" y="1214"/>
                </a:lnTo>
                <a:lnTo>
                  <a:pt x="62" y="1214"/>
                </a:lnTo>
                <a:lnTo>
                  <a:pt x="66" y="1238"/>
                </a:lnTo>
                <a:lnTo>
                  <a:pt x="66" y="1256"/>
                </a:lnTo>
                <a:lnTo>
                  <a:pt x="66" y="1272"/>
                </a:lnTo>
                <a:lnTo>
                  <a:pt x="64" y="1286"/>
                </a:lnTo>
                <a:lnTo>
                  <a:pt x="58" y="1304"/>
                </a:lnTo>
                <a:lnTo>
                  <a:pt x="52" y="1320"/>
                </a:lnTo>
                <a:lnTo>
                  <a:pt x="52" y="1320"/>
                </a:lnTo>
                <a:lnTo>
                  <a:pt x="50" y="1334"/>
                </a:lnTo>
                <a:lnTo>
                  <a:pt x="48" y="1344"/>
                </a:lnTo>
                <a:lnTo>
                  <a:pt x="42" y="1354"/>
                </a:lnTo>
                <a:lnTo>
                  <a:pt x="42" y="1354"/>
                </a:lnTo>
                <a:lnTo>
                  <a:pt x="24" y="1386"/>
                </a:lnTo>
                <a:lnTo>
                  <a:pt x="8" y="1406"/>
                </a:lnTo>
                <a:lnTo>
                  <a:pt x="8" y="1406"/>
                </a:lnTo>
                <a:lnTo>
                  <a:pt x="2" y="1416"/>
                </a:lnTo>
                <a:lnTo>
                  <a:pt x="0" y="1420"/>
                </a:lnTo>
                <a:lnTo>
                  <a:pt x="2" y="1424"/>
                </a:lnTo>
                <a:lnTo>
                  <a:pt x="8" y="1424"/>
                </a:lnTo>
                <a:lnTo>
                  <a:pt x="18" y="1424"/>
                </a:lnTo>
                <a:lnTo>
                  <a:pt x="58" y="1418"/>
                </a:lnTo>
                <a:lnTo>
                  <a:pt x="58" y="1418"/>
                </a:lnTo>
                <a:lnTo>
                  <a:pt x="68" y="1414"/>
                </a:lnTo>
                <a:lnTo>
                  <a:pt x="76" y="1408"/>
                </a:lnTo>
                <a:lnTo>
                  <a:pt x="80" y="1402"/>
                </a:lnTo>
                <a:lnTo>
                  <a:pt x="84" y="1396"/>
                </a:lnTo>
                <a:lnTo>
                  <a:pt x="86" y="1384"/>
                </a:lnTo>
                <a:lnTo>
                  <a:pt x="90" y="1376"/>
                </a:lnTo>
                <a:lnTo>
                  <a:pt x="94" y="1368"/>
                </a:lnTo>
                <a:lnTo>
                  <a:pt x="94" y="1368"/>
                </a:lnTo>
                <a:lnTo>
                  <a:pt x="102" y="1354"/>
                </a:lnTo>
                <a:lnTo>
                  <a:pt x="108" y="1346"/>
                </a:lnTo>
                <a:lnTo>
                  <a:pt x="114" y="1342"/>
                </a:lnTo>
                <a:lnTo>
                  <a:pt x="116" y="1342"/>
                </a:lnTo>
                <a:lnTo>
                  <a:pt x="116" y="1346"/>
                </a:lnTo>
                <a:lnTo>
                  <a:pt x="118" y="1354"/>
                </a:lnTo>
                <a:lnTo>
                  <a:pt x="116" y="1368"/>
                </a:lnTo>
                <a:lnTo>
                  <a:pt x="116" y="1368"/>
                </a:lnTo>
                <a:lnTo>
                  <a:pt x="118" y="1376"/>
                </a:lnTo>
                <a:lnTo>
                  <a:pt x="118" y="1376"/>
                </a:lnTo>
                <a:lnTo>
                  <a:pt x="122" y="1376"/>
                </a:lnTo>
                <a:lnTo>
                  <a:pt x="122" y="1376"/>
                </a:lnTo>
                <a:lnTo>
                  <a:pt x="124" y="1374"/>
                </a:lnTo>
                <a:lnTo>
                  <a:pt x="126" y="1370"/>
                </a:lnTo>
                <a:lnTo>
                  <a:pt x="128" y="1352"/>
                </a:lnTo>
                <a:lnTo>
                  <a:pt x="128" y="1352"/>
                </a:lnTo>
                <a:lnTo>
                  <a:pt x="128" y="1340"/>
                </a:lnTo>
                <a:lnTo>
                  <a:pt x="130" y="1334"/>
                </a:lnTo>
                <a:lnTo>
                  <a:pt x="134" y="1332"/>
                </a:lnTo>
                <a:lnTo>
                  <a:pt x="134" y="1332"/>
                </a:lnTo>
                <a:lnTo>
                  <a:pt x="144" y="1330"/>
                </a:lnTo>
                <a:lnTo>
                  <a:pt x="150" y="1324"/>
                </a:lnTo>
                <a:lnTo>
                  <a:pt x="152" y="1316"/>
                </a:lnTo>
                <a:lnTo>
                  <a:pt x="154" y="1304"/>
                </a:lnTo>
                <a:lnTo>
                  <a:pt x="154" y="1304"/>
                </a:lnTo>
                <a:lnTo>
                  <a:pt x="158" y="1278"/>
                </a:lnTo>
                <a:lnTo>
                  <a:pt x="160" y="1250"/>
                </a:lnTo>
                <a:lnTo>
                  <a:pt x="162" y="1196"/>
                </a:lnTo>
                <a:lnTo>
                  <a:pt x="166" y="1172"/>
                </a:lnTo>
                <a:lnTo>
                  <a:pt x="170" y="1150"/>
                </a:lnTo>
                <a:lnTo>
                  <a:pt x="176" y="1134"/>
                </a:lnTo>
                <a:lnTo>
                  <a:pt x="180" y="1128"/>
                </a:lnTo>
                <a:lnTo>
                  <a:pt x="184" y="1122"/>
                </a:lnTo>
                <a:lnTo>
                  <a:pt x="184" y="1122"/>
                </a:lnTo>
                <a:lnTo>
                  <a:pt x="188" y="1114"/>
                </a:lnTo>
                <a:lnTo>
                  <a:pt x="192" y="1092"/>
                </a:lnTo>
                <a:lnTo>
                  <a:pt x="204" y="1024"/>
                </a:lnTo>
                <a:lnTo>
                  <a:pt x="218" y="952"/>
                </a:lnTo>
                <a:lnTo>
                  <a:pt x="228" y="902"/>
                </a:lnTo>
                <a:lnTo>
                  <a:pt x="228" y="902"/>
                </a:lnTo>
                <a:lnTo>
                  <a:pt x="234" y="874"/>
                </a:lnTo>
                <a:lnTo>
                  <a:pt x="242" y="850"/>
                </a:lnTo>
                <a:lnTo>
                  <a:pt x="252" y="826"/>
                </a:lnTo>
                <a:lnTo>
                  <a:pt x="260" y="804"/>
                </a:lnTo>
                <a:lnTo>
                  <a:pt x="270" y="784"/>
                </a:lnTo>
                <a:lnTo>
                  <a:pt x="280" y="768"/>
                </a:lnTo>
                <a:lnTo>
                  <a:pt x="288" y="754"/>
                </a:lnTo>
                <a:lnTo>
                  <a:pt x="296" y="746"/>
                </a:lnTo>
                <a:lnTo>
                  <a:pt x="296" y="746"/>
                </a:lnTo>
                <a:lnTo>
                  <a:pt x="300" y="744"/>
                </a:lnTo>
                <a:lnTo>
                  <a:pt x="302" y="748"/>
                </a:lnTo>
                <a:lnTo>
                  <a:pt x="306" y="766"/>
                </a:lnTo>
                <a:lnTo>
                  <a:pt x="310" y="796"/>
                </a:lnTo>
                <a:lnTo>
                  <a:pt x="314" y="834"/>
                </a:lnTo>
                <a:lnTo>
                  <a:pt x="316" y="920"/>
                </a:lnTo>
                <a:lnTo>
                  <a:pt x="314" y="998"/>
                </a:lnTo>
                <a:lnTo>
                  <a:pt x="314" y="998"/>
                </a:lnTo>
                <a:lnTo>
                  <a:pt x="312" y="1078"/>
                </a:lnTo>
                <a:lnTo>
                  <a:pt x="308" y="1130"/>
                </a:lnTo>
                <a:lnTo>
                  <a:pt x="304" y="1172"/>
                </a:lnTo>
                <a:lnTo>
                  <a:pt x="304" y="1172"/>
                </a:lnTo>
                <a:lnTo>
                  <a:pt x="302" y="1186"/>
                </a:lnTo>
                <a:lnTo>
                  <a:pt x="302" y="1198"/>
                </a:lnTo>
                <a:lnTo>
                  <a:pt x="296" y="1216"/>
                </a:lnTo>
                <a:lnTo>
                  <a:pt x="292" y="1228"/>
                </a:lnTo>
                <a:lnTo>
                  <a:pt x="292" y="1232"/>
                </a:lnTo>
                <a:lnTo>
                  <a:pt x="292" y="1236"/>
                </a:lnTo>
                <a:lnTo>
                  <a:pt x="292" y="1236"/>
                </a:lnTo>
                <a:lnTo>
                  <a:pt x="300" y="1270"/>
                </a:lnTo>
                <a:lnTo>
                  <a:pt x="304" y="1298"/>
                </a:lnTo>
                <a:lnTo>
                  <a:pt x="304" y="1298"/>
                </a:lnTo>
                <a:lnTo>
                  <a:pt x="306" y="1306"/>
                </a:lnTo>
                <a:lnTo>
                  <a:pt x="308" y="1314"/>
                </a:lnTo>
                <a:lnTo>
                  <a:pt x="314" y="1332"/>
                </a:lnTo>
                <a:lnTo>
                  <a:pt x="314" y="1332"/>
                </a:lnTo>
                <a:lnTo>
                  <a:pt x="316" y="1344"/>
                </a:lnTo>
                <a:lnTo>
                  <a:pt x="316" y="1356"/>
                </a:lnTo>
                <a:lnTo>
                  <a:pt x="316" y="1356"/>
                </a:lnTo>
                <a:lnTo>
                  <a:pt x="316" y="1364"/>
                </a:lnTo>
                <a:lnTo>
                  <a:pt x="320" y="1372"/>
                </a:lnTo>
                <a:lnTo>
                  <a:pt x="324" y="1378"/>
                </a:lnTo>
                <a:lnTo>
                  <a:pt x="330" y="1386"/>
                </a:lnTo>
                <a:lnTo>
                  <a:pt x="342" y="1396"/>
                </a:lnTo>
                <a:lnTo>
                  <a:pt x="352" y="1400"/>
                </a:lnTo>
                <a:lnTo>
                  <a:pt x="352" y="1400"/>
                </a:lnTo>
                <a:lnTo>
                  <a:pt x="364" y="1392"/>
                </a:lnTo>
                <a:lnTo>
                  <a:pt x="372" y="1384"/>
                </a:lnTo>
                <a:lnTo>
                  <a:pt x="380" y="1376"/>
                </a:lnTo>
                <a:lnTo>
                  <a:pt x="382" y="1370"/>
                </a:lnTo>
                <a:lnTo>
                  <a:pt x="382" y="1370"/>
                </a:lnTo>
                <a:lnTo>
                  <a:pt x="382" y="1360"/>
                </a:lnTo>
                <a:lnTo>
                  <a:pt x="380" y="1352"/>
                </a:lnTo>
                <a:lnTo>
                  <a:pt x="376" y="1334"/>
                </a:lnTo>
                <a:lnTo>
                  <a:pt x="376" y="1294"/>
                </a:lnTo>
                <a:lnTo>
                  <a:pt x="376" y="1294"/>
                </a:lnTo>
                <a:lnTo>
                  <a:pt x="378" y="1272"/>
                </a:lnTo>
                <a:lnTo>
                  <a:pt x="382" y="1242"/>
                </a:lnTo>
                <a:lnTo>
                  <a:pt x="386" y="1208"/>
                </a:lnTo>
                <a:lnTo>
                  <a:pt x="388" y="1186"/>
                </a:lnTo>
                <a:lnTo>
                  <a:pt x="388" y="1186"/>
                </a:lnTo>
                <a:lnTo>
                  <a:pt x="390" y="1154"/>
                </a:lnTo>
                <a:lnTo>
                  <a:pt x="394" y="1118"/>
                </a:lnTo>
                <a:lnTo>
                  <a:pt x="396" y="1078"/>
                </a:lnTo>
                <a:lnTo>
                  <a:pt x="398" y="1042"/>
                </a:lnTo>
                <a:lnTo>
                  <a:pt x="398" y="1042"/>
                </a:lnTo>
                <a:lnTo>
                  <a:pt x="400" y="1022"/>
                </a:lnTo>
                <a:lnTo>
                  <a:pt x="404" y="994"/>
                </a:lnTo>
                <a:lnTo>
                  <a:pt x="410" y="966"/>
                </a:lnTo>
                <a:lnTo>
                  <a:pt x="412" y="944"/>
                </a:lnTo>
                <a:lnTo>
                  <a:pt x="412" y="944"/>
                </a:lnTo>
                <a:lnTo>
                  <a:pt x="414" y="890"/>
                </a:lnTo>
                <a:lnTo>
                  <a:pt x="420" y="848"/>
                </a:lnTo>
                <a:lnTo>
                  <a:pt x="426" y="816"/>
                </a:lnTo>
                <a:lnTo>
                  <a:pt x="432" y="792"/>
                </a:lnTo>
                <a:lnTo>
                  <a:pt x="444" y="754"/>
                </a:lnTo>
                <a:lnTo>
                  <a:pt x="448" y="738"/>
                </a:lnTo>
                <a:lnTo>
                  <a:pt x="450" y="716"/>
                </a:lnTo>
                <a:lnTo>
                  <a:pt x="450" y="716"/>
                </a:lnTo>
                <a:lnTo>
                  <a:pt x="450" y="706"/>
                </a:lnTo>
                <a:lnTo>
                  <a:pt x="448" y="698"/>
                </a:lnTo>
                <a:lnTo>
                  <a:pt x="448" y="690"/>
                </a:lnTo>
                <a:lnTo>
                  <a:pt x="448" y="684"/>
                </a:lnTo>
                <a:lnTo>
                  <a:pt x="448" y="684"/>
                </a:lnTo>
                <a:lnTo>
                  <a:pt x="440" y="634"/>
                </a:lnTo>
                <a:lnTo>
                  <a:pt x="434" y="588"/>
                </a:lnTo>
                <a:lnTo>
                  <a:pt x="426" y="540"/>
                </a:lnTo>
                <a:lnTo>
                  <a:pt x="426" y="540"/>
                </a:lnTo>
                <a:lnTo>
                  <a:pt x="422" y="532"/>
                </a:lnTo>
                <a:lnTo>
                  <a:pt x="418" y="524"/>
                </a:lnTo>
                <a:lnTo>
                  <a:pt x="410" y="508"/>
                </a:lnTo>
                <a:lnTo>
                  <a:pt x="404" y="502"/>
                </a:lnTo>
                <a:lnTo>
                  <a:pt x="402" y="494"/>
                </a:lnTo>
                <a:lnTo>
                  <a:pt x="400" y="486"/>
                </a:lnTo>
                <a:lnTo>
                  <a:pt x="402" y="478"/>
                </a:lnTo>
                <a:lnTo>
                  <a:pt x="402" y="478"/>
                </a:lnTo>
                <a:lnTo>
                  <a:pt x="410" y="456"/>
                </a:lnTo>
                <a:lnTo>
                  <a:pt x="420" y="432"/>
                </a:lnTo>
                <a:lnTo>
                  <a:pt x="420" y="432"/>
                </a:lnTo>
                <a:lnTo>
                  <a:pt x="422" y="432"/>
                </a:lnTo>
                <a:lnTo>
                  <a:pt x="422" y="432"/>
                </a:lnTo>
                <a:lnTo>
                  <a:pt x="424" y="438"/>
                </a:lnTo>
                <a:lnTo>
                  <a:pt x="426" y="446"/>
                </a:lnTo>
                <a:lnTo>
                  <a:pt x="428" y="454"/>
                </a:lnTo>
                <a:lnTo>
                  <a:pt x="428" y="454"/>
                </a:lnTo>
                <a:lnTo>
                  <a:pt x="430" y="462"/>
                </a:lnTo>
                <a:lnTo>
                  <a:pt x="430" y="466"/>
                </a:lnTo>
                <a:lnTo>
                  <a:pt x="428" y="476"/>
                </a:lnTo>
                <a:lnTo>
                  <a:pt x="424" y="486"/>
                </a:lnTo>
                <a:lnTo>
                  <a:pt x="424" y="492"/>
                </a:lnTo>
                <a:lnTo>
                  <a:pt x="426" y="498"/>
                </a:lnTo>
                <a:lnTo>
                  <a:pt x="426" y="498"/>
                </a:lnTo>
                <a:lnTo>
                  <a:pt x="428" y="502"/>
                </a:lnTo>
                <a:lnTo>
                  <a:pt x="430" y="504"/>
                </a:lnTo>
                <a:lnTo>
                  <a:pt x="434" y="506"/>
                </a:lnTo>
                <a:lnTo>
                  <a:pt x="436" y="508"/>
                </a:lnTo>
                <a:lnTo>
                  <a:pt x="436" y="508"/>
                </a:lnTo>
                <a:lnTo>
                  <a:pt x="436" y="518"/>
                </a:lnTo>
                <a:lnTo>
                  <a:pt x="436" y="530"/>
                </a:lnTo>
                <a:lnTo>
                  <a:pt x="436" y="540"/>
                </a:lnTo>
                <a:lnTo>
                  <a:pt x="438" y="550"/>
                </a:lnTo>
                <a:lnTo>
                  <a:pt x="438" y="550"/>
                </a:lnTo>
                <a:lnTo>
                  <a:pt x="444" y="556"/>
                </a:lnTo>
                <a:lnTo>
                  <a:pt x="444" y="560"/>
                </a:lnTo>
                <a:lnTo>
                  <a:pt x="444" y="566"/>
                </a:lnTo>
                <a:lnTo>
                  <a:pt x="440" y="570"/>
                </a:lnTo>
                <a:lnTo>
                  <a:pt x="434" y="576"/>
                </a:lnTo>
                <a:lnTo>
                  <a:pt x="432" y="580"/>
                </a:lnTo>
                <a:lnTo>
                  <a:pt x="432" y="582"/>
                </a:lnTo>
                <a:lnTo>
                  <a:pt x="432" y="582"/>
                </a:lnTo>
                <a:lnTo>
                  <a:pt x="436" y="644"/>
                </a:lnTo>
                <a:lnTo>
                  <a:pt x="440" y="674"/>
                </a:lnTo>
                <a:lnTo>
                  <a:pt x="442" y="684"/>
                </a:lnTo>
                <a:lnTo>
                  <a:pt x="444" y="686"/>
                </a:lnTo>
                <a:lnTo>
                  <a:pt x="446" y="688"/>
                </a:lnTo>
                <a:lnTo>
                  <a:pt x="446" y="688"/>
                </a:lnTo>
                <a:lnTo>
                  <a:pt x="470" y="654"/>
                </a:lnTo>
                <a:lnTo>
                  <a:pt x="488" y="622"/>
                </a:lnTo>
                <a:lnTo>
                  <a:pt x="488" y="622"/>
                </a:lnTo>
                <a:lnTo>
                  <a:pt x="490" y="610"/>
                </a:lnTo>
                <a:lnTo>
                  <a:pt x="494" y="598"/>
                </a:lnTo>
                <a:lnTo>
                  <a:pt x="498" y="586"/>
                </a:lnTo>
                <a:lnTo>
                  <a:pt x="498" y="570"/>
                </a:lnTo>
                <a:lnTo>
                  <a:pt x="498" y="570"/>
                </a:lnTo>
                <a:lnTo>
                  <a:pt x="508" y="532"/>
                </a:lnTo>
                <a:lnTo>
                  <a:pt x="512" y="512"/>
                </a:lnTo>
                <a:lnTo>
                  <a:pt x="512" y="494"/>
                </a:lnTo>
                <a:lnTo>
                  <a:pt x="512" y="494"/>
                </a:lnTo>
                <a:lnTo>
                  <a:pt x="512" y="490"/>
                </a:lnTo>
                <a:lnTo>
                  <a:pt x="510" y="486"/>
                </a:lnTo>
                <a:lnTo>
                  <a:pt x="504" y="480"/>
                </a:lnTo>
                <a:lnTo>
                  <a:pt x="498" y="474"/>
                </a:lnTo>
                <a:lnTo>
                  <a:pt x="494" y="470"/>
                </a:lnTo>
                <a:lnTo>
                  <a:pt x="494" y="466"/>
                </a:lnTo>
                <a:lnTo>
                  <a:pt x="494" y="466"/>
                </a:lnTo>
                <a:lnTo>
                  <a:pt x="492" y="454"/>
                </a:lnTo>
                <a:lnTo>
                  <a:pt x="490" y="442"/>
                </a:lnTo>
                <a:lnTo>
                  <a:pt x="486" y="432"/>
                </a:lnTo>
                <a:lnTo>
                  <a:pt x="486" y="424"/>
                </a:lnTo>
                <a:lnTo>
                  <a:pt x="486" y="424"/>
                </a:lnTo>
                <a:lnTo>
                  <a:pt x="486" y="408"/>
                </a:lnTo>
                <a:lnTo>
                  <a:pt x="486" y="392"/>
                </a:lnTo>
                <a:lnTo>
                  <a:pt x="484" y="358"/>
                </a:lnTo>
                <a:lnTo>
                  <a:pt x="480" y="318"/>
                </a:lnTo>
                <a:lnTo>
                  <a:pt x="480" y="274"/>
                </a:lnTo>
                <a:lnTo>
                  <a:pt x="480" y="274"/>
                </a:lnTo>
                <a:lnTo>
                  <a:pt x="478" y="264"/>
                </a:lnTo>
                <a:lnTo>
                  <a:pt x="474" y="256"/>
                </a:lnTo>
                <a:lnTo>
                  <a:pt x="470" y="250"/>
                </a:lnTo>
                <a:lnTo>
                  <a:pt x="464" y="246"/>
                </a:lnTo>
                <a:lnTo>
                  <a:pt x="448" y="240"/>
                </a:lnTo>
                <a:lnTo>
                  <a:pt x="432" y="234"/>
                </a:lnTo>
                <a:lnTo>
                  <a:pt x="432" y="23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7" name="Rectangle 36"/>
          <p:cNvSpPr/>
          <p:nvPr/>
        </p:nvSpPr>
        <p:spPr>
          <a:xfrm>
            <a:off x="6544146" y="3844337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/>
              <a:t>Samopěstitel</a:t>
            </a:r>
            <a:endParaRPr lang="cs-CZ" sz="1400" b="1" dirty="0"/>
          </a:p>
        </p:txBody>
      </p:sp>
      <p:sp>
        <p:nvSpPr>
          <p:cNvPr id="26" name="Rectangle 25"/>
          <p:cNvSpPr/>
          <p:nvPr/>
        </p:nvSpPr>
        <p:spPr>
          <a:xfrm>
            <a:off x="3834859" y="1515576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303" y="1368376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95782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18" name="TextBox 17"/>
          <p:cNvSpPr txBox="1"/>
          <p:nvPr/>
        </p:nvSpPr>
        <p:spPr>
          <a:xfrm>
            <a:off x="3933419" y="2115850"/>
            <a:ext cx="1246599" cy="1246599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ír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728427" y="4442763"/>
            <a:ext cx="1674017" cy="167401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oobchod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na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77267" y="3073148"/>
            <a:ext cx="1455628" cy="136527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nik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bu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ých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uktů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51" name="Straight Arrow Connector 50"/>
          <p:cNvCxnSpPr>
            <a:stCxn id="18" idx="4"/>
            <a:endCxn id="23" idx="0"/>
          </p:cNvCxnSpPr>
          <p:nvPr/>
        </p:nvCxnSpPr>
        <p:spPr>
          <a:xfrm rot="16200000" flipH="1">
            <a:off x="4020920" y="3898247"/>
            <a:ext cx="1080314" cy="87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23" idx="2"/>
            <a:endCxn id="43" idx="6"/>
          </p:cNvCxnSpPr>
          <p:nvPr/>
        </p:nvCxnSpPr>
        <p:spPr>
          <a:xfrm rot="10800000" flipV="1">
            <a:off x="2743201" y="5279771"/>
            <a:ext cx="985227" cy="3394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24" idx="5"/>
            <a:endCxn id="23" idx="1"/>
          </p:cNvCxnSpPr>
          <p:nvPr/>
        </p:nvCxnSpPr>
        <p:spPr>
          <a:xfrm rot="16200000" flipH="1">
            <a:off x="3471935" y="4186270"/>
            <a:ext cx="449435" cy="5538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18" idx="3"/>
            <a:endCxn id="24" idx="6"/>
          </p:cNvCxnSpPr>
          <p:nvPr/>
        </p:nvCxnSpPr>
        <p:spPr>
          <a:xfrm rot="5400000">
            <a:off x="3586489" y="3226295"/>
            <a:ext cx="575896" cy="483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668496" y="1783101"/>
            <a:ext cx="1420706" cy="1018194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ertifikovan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alytick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aboratoř</a:t>
            </a:r>
            <a:endParaRPr lang="cs-CZ" sz="12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72" name="Straight Arrow Connector 71"/>
          <p:cNvCxnSpPr>
            <a:stCxn id="70" idx="4"/>
            <a:endCxn id="24" idx="1"/>
          </p:cNvCxnSpPr>
          <p:nvPr/>
        </p:nvCxnSpPr>
        <p:spPr>
          <a:xfrm rot="16200000" flipH="1">
            <a:off x="2148748" y="3031396"/>
            <a:ext cx="471792" cy="115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70" idx="6"/>
            <a:endCxn id="18" idx="1"/>
          </p:cNvCxnSpPr>
          <p:nvPr/>
        </p:nvCxnSpPr>
        <p:spPr>
          <a:xfrm>
            <a:off x="3089202" y="2292198"/>
            <a:ext cx="1026777" cy="62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05869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8310954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name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ís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azuj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í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čný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rend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6320496"/>
            <a:ext cx="4567817" cy="36512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16" name="Rectangle 15"/>
          <p:cNvSpPr/>
          <p:nvPr/>
        </p:nvSpPr>
        <p:spPr>
          <a:xfrm>
            <a:off x="1371588" y="5631021"/>
            <a:ext cx="6384495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100" i="1" dirty="0" err="1" smtClean="0"/>
              <a:t>Obr</a:t>
            </a:r>
            <a:r>
              <a:rPr lang="en-US" sz="1100" i="1" dirty="0" smtClean="0"/>
              <a:t>. 1: </a:t>
            </a:r>
            <a:r>
              <a:rPr lang="en-US" sz="1100" i="1" dirty="0" err="1" smtClean="0"/>
              <a:t>Ukázka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s </a:t>
            </a:r>
            <a:r>
              <a:rPr lang="en-US" sz="1100" i="1" dirty="0" err="1" smtClean="0"/>
              <a:t>dekriminalizací</a:t>
            </a:r>
            <a:r>
              <a:rPr lang="en-US" sz="1100" i="1" dirty="0" smtClean="0"/>
              <a:t> a </a:t>
            </a:r>
            <a:r>
              <a:rPr lang="en-US" sz="1100" i="1" dirty="0" err="1" smtClean="0"/>
              <a:t>legalizací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léčebného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nopí</a:t>
            </a:r>
            <a:r>
              <a:rPr lang="en-US" sz="1100" i="1" dirty="0" smtClean="0"/>
              <a:t>; </a:t>
            </a:r>
            <a:r>
              <a:rPr lang="en-US" sz="1100" i="1" dirty="0" err="1" smtClean="0"/>
              <a:t>Obr</a:t>
            </a:r>
            <a:r>
              <a:rPr lang="en-US" sz="1100" i="1" dirty="0" smtClean="0"/>
              <a:t>. 2: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průměrné</a:t>
            </a:r>
            <a:r>
              <a:rPr lang="en-US" sz="1100" i="1" dirty="0" smtClean="0"/>
              <a:t> prevalence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v </a:t>
            </a:r>
            <a:r>
              <a:rPr lang="en-US" sz="1100" i="1" dirty="0" err="1" smtClean="0"/>
              <a:t>legalizující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státe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napříč</a:t>
            </a:r>
            <a:r>
              <a:rPr lang="en-US" sz="1100" i="1" dirty="0" smtClean="0"/>
              <a:t> USA; </a:t>
            </a:r>
            <a:r>
              <a:rPr lang="en-US" sz="1100" i="1" dirty="0" err="1" smtClean="0"/>
              <a:t>zdroj</a:t>
            </a:r>
            <a:r>
              <a:rPr lang="en-US" sz="1100" i="1" dirty="0" smtClean="0"/>
              <a:t>: Huber III, A., Newman, R. a </a:t>
            </a:r>
            <a:r>
              <a:rPr lang="en-US" sz="1100" i="1" dirty="0" err="1" smtClean="0"/>
              <a:t>LaFave</a:t>
            </a:r>
            <a:r>
              <a:rPr lang="en-US" sz="1100" i="1" dirty="0" smtClean="0"/>
              <a:t>, D.:  Cannabis Control and Crime: Medicinal Use, </a:t>
            </a:r>
            <a:r>
              <a:rPr lang="en-US" sz="1100" i="1" dirty="0" err="1" smtClean="0"/>
              <a:t>Depenalization</a:t>
            </a:r>
            <a:r>
              <a:rPr lang="en-US" sz="1100" i="1" dirty="0" smtClean="0"/>
              <a:t> and the War on Drugs (2016)</a:t>
            </a:r>
            <a:endParaRPr lang="cs-CZ" sz="1100" i="1" dirty="0"/>
          </a:p>
        </p:txBody>
      </p:sp>
      <p:pic>
        <p:nvPicPr>
          <p:cNvPr id="17" name="Picture 16" descr="crime_rat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073" y="1458488"/>
            <a:ext cx="6954221" cy="41725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5321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imár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ven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hod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nvesti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ískan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ojů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kumen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r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pal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:</a:t>
            </a: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k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lán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aliza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rategi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dob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6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ž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8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d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lád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ordina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ýro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práv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av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ěcech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publi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o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5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onitorova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ředisk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visl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oučasn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á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RVKPP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nahu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řístup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blematic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icméně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d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vident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dostatek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nan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even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stor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měn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epšímu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78216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95408"/>
            <a:ext cx="7886700" cy="467320"/>
          </a:xfrm>
        </p:spPr>
        <p:txBody>
          <a:bodyPr/>
          <a:lstStyle/>
          <a:p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ky autorů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256957"/>
            <a:ext cx="7886700" cy="4698996"/>
          </a:xfrm>
        </p:spPr>
        <p:txBody>
          <a:bodyPr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íst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b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hodoval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o tom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a-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ů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nž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viden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ředstavuj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ád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ezpe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dirty="0" smtClean="0"/>
              <a:t>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vá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yke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zí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r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pa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hrani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elh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mplement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o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pa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My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naží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žaduj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i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a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brán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fi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porát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pre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tlivců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ku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vář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ává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liti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sychotropní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áte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ě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ycho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odnot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ji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ědeck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ože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kodliv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a n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ýtů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vr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ét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do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rmální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ivot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alš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tězstv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smysln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ar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národn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úmluvám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endParaRPr lang="cs-CZ" sz="16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9</a:t>
            </a:r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76457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00000000000000000000E+00&quot;&gt;&lt;m_msothmcolidx val=&quot;0&quot;/&gt;&lt;m_rgb r=&quot;FF&quot; g=&quot;CB&quot; b=&quot;40&quot;/&gt;&lt;m_nBrightness val=&quot;0&quot;/&gt;&lt;/elem&gt;&lt;elem m_fUsage=&quot;9.00000000000000022204E-01&quot;&gt;&lt;m_msothmcolidx val=&quot;0&quot;/&gt;&lt;m_rgb r=&quot;83&quot; g=&quot;0C&quot; b=&quot;D1&quot;/&gt;&lt;m_nBrightness val=&quot;0&quot;/&gt;&lt;/elem&gt;&lt;elem m_fUsage=&quot;8.10000000000000053291E-01&quot;&gt;&lt;m_msothmcolidx val=&quot;0&quot;/&gt;&lt;m_rgb r=&quot;03&quot; g=&quot;4A&quot; b=&quot;92&quot;/&gt;&lt;m_nBrightness val=&quot;0&quot;/&gt;&lt;/elem&gt;&lt;elem m_fUsage=&quot;7.29000000000000092371E-01&quot;&gt;&lt;m_msothmcolidx val=&quot;0&quot;/&gt;&lt;m_rgb r=&quot;43&quot; g=&quot;9E&quot; b=&quot;FA&quot;/&gt;&lt;m_nBrightness val=&quot;0&quot;/&gt;&lt;/elem&gt;&lt;elem m_fUsage=&quot;6.56100000000000127542E-01&quot;&gt;&lt;m_msothmcolidx val=&quot;0&quot;/&gt;&lt;m_rgb r=&quot;FF&quot; g=&quot;C0&quot; b=&quot;00&quot;/&gt;&lt;m_nBrightness val=&quot;0&quot;/&gt;&lt;/elem&gt;&lt;elem m_fUsage=&quot;5.90490000000000181402E-01&quot;&gt;&lt;m_msothmcolidx val=&quot;0&quot;/&gt;&lt;m_rgb r=&quot;8F&quot; g=&quot;02&quot; b=&quot;DB&quot;/&gt;&lt;m_nBrightness val=&quot;0&quot;/&gt;&lt;/elem&gt;&lt;elem m_fUsage=&quot;5.31441000000000163261E-01&quot;&gt;&lt;m_msothmcolidx val=&quot;0&quot;/&gt;&lt;m_rgb r=&quot;B7&quot; g=&quot;17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E1900"/>
      </a:accent1>
      <a:accent2>
        <a:srgbClr val="008E00"/>
      </a:accent2>
      <a:accent3>
        <a:srgbClr val="A5A5A5"/>
      </a:accent3>
      <a:accent4>
        <a:srgbClr val="FF950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46</TotalTime>
  <Words>632</Words>
  <Application>Microsoft Macintosh PowerPoint</Application>
  <PresentationFormat>On-screen Show (4:3)</PresentationFormat>
  <Paragraphs>120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lide 1</vt:lpstr>
      <vt:lpstr>Chceme legalizovat konopí. Jak to vidíme?</vt:lpstr>
      <vt:lpstr>Nedostupné konopí a černý trh – současná situace</vt:lpstr>
      <vt:lpstr>Naše představa regulace samopěstování</vt:lpstr>
      <vt:lpstr>Chceme legalizovat a regulovat trh s konopím </vt:lpstr>
      <vt:lpstr>Systém dovolující uživatelům operovat legálně na základě osobních preferencí</vt:lpstr>
      <vt:lpstr>Legalizace konopí neznamená zvýšení kriminality ve společnosti – čísla ukazují spíše opačný trend</vt:lpstr>
      <vt:lpstr>Primární prevence – vhodná investice legalizací získaných zdrojů</vt:lpstr>
      <vt:lpstr>Výroky autorů reformy</vt:lpstr>
      <vt:lpstr>Autoři reformy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west</dc:title>
  <dc:creator>Stepan Strebl</dc:creator>
  <cp:lastModifiedBy>Zadek</cp:lastModifiedBy>
  <cp:revision>479</cp:revision>
  <cp:lastPrinted>2017-06-16T18:27:17Z</cp:lastPrinted>
  <dcterms:created xsi:type="dcterms:W3CDTF">2016-12-03T14:01:11Z</dcterms:created>
  <dcterms:modified xsi:type="dcterms:W3CDTF">2017-08-01T18:17:53Z</dcterms:modified>
</cp:coreProperties>
</file>